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ppt/tags/tag2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9" r:id="rId2"/>
  </p:sldMasterIdLst>
  <p:notesMasterIdLst>
    <p:notesMasterId r:id="rId22"/>
  </p:notesMasterIdLst>
  <p:sldIdLst>
    <p:sldId id="3343" r:id="rId3"/>
    <p:sldId id="3346" r:id="rId4"/>
    <p:sldId id="2147308978" r:id="rId5"/>
    <p:sldId id="3349" r:id="rId6"/>
    <p:sldId id="3351" r:id="rId7"/>
    <p:sldId id="3352" r:id="rId8"/>
    <p:sldId id="3353" r:id="rId9"/>
    <p:sldId id="3348" r:id="rId10"/>
    <p:sldId id="3347" r:id="rId11"/>
    <p:sldId id="2147308971" r:id="rId12"/>
    <p:sldId id="2147308975" r:id="rId13"/>
    <p:sldId id="2147308976" r:id="rId14"/>
    <p:sldId id="3344" r:id="rId15"/>
    <p:sldId id="2147308968" r:id="rId16"/>
    <p:sldId id="2147308969" r:id="rId17"/>
    <p:sldId id="2147308977" r:id="rId18"/>
    <p:sldId id="2147308973" r:id="rId19"/>
    <p:sldId id="2147308972" r:id="rId20"/>
    <p:sldId id="214730897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43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12"/>
    <p:restoredTop sz="94786"/>
  </p:normalViewPr>
  <p:slideViewPr>
    <p:cSldViewPr snapToGrid="0">
      <p:cViewPr varScale="1">
        <p:scale>
          <a:sx n="107" d="100"/>
          <a:sy n="107" d="100"/>
        </p:scale>
        <p:origin x="192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9B039-4B8E-4EF0-876B-DDFFA53D6CD6}" type="datetimeFigureOut">
              <a:rPr lang="en-US" smtClean="0"/>
              <a:t>10/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FF33DF-647A-466E-8794-CA5103F24B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00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47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219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262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3404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4864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925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699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754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591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4194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043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4582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8438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240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2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4258178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91606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6557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4007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071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820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10/5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43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735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04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574054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576628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89196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22061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4885097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20957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7441022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05695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943623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883091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653349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009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733304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905155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094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97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10/5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870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067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1098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84620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238132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53217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027116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282346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033200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43962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40906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677828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29" imgH="627" progId="TCLayout.ActiveDocument.1">
                  <p:embed/>
                </p:oleObj>
              </mc:Choice>
              <mc:Fallback>
                <p:oleObj name="think-cell Slide" r:id="rId22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2855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7.xml"/><Relationship Id="rId6" Type="http://schemas.openxmlformats.org/officeDocument/2006/relationships/image" Target="../media/image1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8.x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1349404" y="5587457"/>
            <a:ext cx="4465469" cy="6286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Zhen Ga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1349403" y="2474893"/>
            <a:ext cx="104574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asl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-Seq </a:t>
            </a:r>
            <a:r>
              <a:rPr lang="en-US" sz="3200" b="1" i="0" dirty="0">
                <a:solidFill>
                  <a:srgbClr val="000000"/>
                </a:solidFill>
                <a:effectLst/>
                <a:latin typeface="+mj-lt"/>
              </a:rPr>
              <a:t>primers design and selection f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i="0" dirty="0">
                <a:solidFill>
                  <a:srgbClr val="000000"/>
                </a:solidFill>
                <a:effectLst/>
                <a:latin typeface="+mj-lt"/>
              </a:rPr>
              <a:t>compounds off-target effects screen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FoxM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0A7E5E-4252-B854-F089-83F68E9304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258" y="1179442"/>
            <a:ext cx="5577089" cy="508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952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8C0DE4-C995-C6B1-5A93-39D65B7B7C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111" y="1017054"/>
            <a:ext cx="6002516" cy="5469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SENP6</a:t>
            </a:r>
          </a:p>
        </p:txBody>
      </p:sp>
    </p:spTree>
    <p:extLst>
      <p:ext uri="{BB962C8B-B14F-4D97-AF65-F5344CB8AC3E}">
        <p14:creationId xmlns:p14="http://schemas.microsoft.com/office/powerpoint/2010/main" val="31986071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FBXO31</a:t>
            </a:r>
          </a:p>
        </p:txBody>
      </p:sp>
      <p:pic>
        <p:nvPicPr>
          <p:cNvPr id="3" name="Picture 2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3091346F-522A-B858-0FC7-DB8B73E778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918" y="874207"/>
            <a:ext cx="6073621" cy="560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23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60A5F14A-BE3F-E10F-0DC7-C67ABB2D13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61" y="1782266"/>
            <a:ext cx="3230562" cy="2875188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8511762-AD41-76B1-C362-61A6AD9659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523" y="1782266"/>
            <a:ext cx="3051607" cy="292694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3BCFD14-9C64-05C5-A261-995FF6D739B3}"/>
              </a:ext>
            </a:extLst>
          </p:cNvPr>
          <p:cNvSpPr txBox="1"/>
          <p:nvPr/>
        </p:nvSpPr>
        <p:spPr>
          <a:xfrm>
            <a:off x="1498750" y="1255271"/>
            <a:ext cx="941283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SREK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752D6C-A789-03DD-5A75-B02569B62245}"/>
              </a:ext>
            </a:extLst>
          </p:cNvPr>
          <p:cNvSpPr txBox="1"/>
          <p:nvPr/>
        </p:nvSpPr>
        <p:spPr>
          <a:xfrm>
            <a:off x="5497117" y="1255271"/>
            <a:ext cx="1069524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UBAP2L</a:t>
            </a:r>
          </a:p>
        </p:txBody>
      </p:sp>
      <p:pic>
        <p:nvPicPr>
          <p:cNvPr id="17" name="Picture 16" descr="Chart, diagram&#10;&#10;Description automatically generated">
            <a:extLst>
              <a:ext uri="{FF2B5EF4-FFF2-40B4-BE49-F238E27FC236}">
                <a16:creationId xmlns:a16="http://schemas.microsoft.com/office/drawing/2014/main" id="{7E9BDDEF-D876-B084-7617-351CC86A93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513" y="1934036"/>
            <a:ext cx="3686768" cy="29899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8FE0129-5DB0-CBA4-C307-324D3B8EF5EC}"/>
              </a:ext>
            </a:extLst>
          </p:cNvPr>
          <p:cNvSpPr txBox="1"/>
          <p:nvPr/>
        </p:nvSpPr>
        <p:spPr>
          <a:xfrm>
            <a:off x="9623726" y="1255271"/>
            <a:ext cx="928459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DX42</a:t>
            </a:r>
          </a:p>
        </p:txBody>
      </p:sp>
    </p:spTree>
    <p:extLst>
      <p:ext uri="{BB962C8B-B14F-4D97-AF65-F5344CB8AC3E}">
        <p14:creationId xmlns:p14="http://schemas.microsoft.com/office/powerpoint/2010/main" val="1843772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CAA90482-DDB8-4B34-B120-4C48D2578B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47" y="1591228"/>
            <a:ext cx="4241800" cy="1257300"/>
          </a:xfrm>
          <a:prstGeom prst="rect">
            <a:avLst/>
          </a:prstGeom>
        </p:spPr>
      </p:pic>
      <p:pic>
        <p:nvPicPr>
          <p:cNvPr id="5" name="Picture 4" descr="A picture containing chart&#10;&#10;Description automatically generated">
            <a:extLst>
              <a:ext uri="{FF2B5EF4-FFF2-40B4-BE49-F238E27FC236}">
                <a16:creationId xmlns:a16="http://schemas.microsoft.com/office/drawing/2014/main" id="{859C49D6-18E7-58C3-ED13-FCB695AF55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4" y="3128848"/>
            <a:ext cx="4203700" cy="1231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64617D-9A4A-96E5-28D5-DFD600DBE07B}"/>
              </a:ext>
            </a:extLst>
          </p:cNvPr>
          <p:cNvSpPr/>
          <p:nvPr/>
        </p:nvSpPr>
        <p:spPr>
          <a:xfrm>
            <a:off x="5543825" y="2391491"/>
            <a:ext cx="372249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5)        </a:t>
            </a:r>
            <a:r>
              <a:rPr lang="en-US" dirty="0">
                <a:solidFill>
                  <a:srgbClr val="00B050"/>
                </a:solidFill>
              </a:rPr>
              <a:t>t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2</a:t>
            </a:r>
            <a:r>
              <a:rPr lang="en-US" dirty="0"/>
              <a:t>|</a:t>
            </a:r>
            <a:r>
              <a:rPr lang="en-US" dirty="0">
                <a:solidFill>
                  <a:srgbClr val="1A3DFF"/>
                </a:solidFill>
              </a:rPr>
              <a:t>1e2</a:t>
            </a:r>
            <a:r>
              <a:rPr lang="en-US" dirty="0"/>
              <a:t>.1o1|</a:t>
            </a:r>
            <a:r>
              <a:rPr lang="en-US" dirty="0">
                <a:solidFill>
                  <a:srgbClr val="0432FF"/>
                </a:solidFill>
              </a:rPr>
              <a:t>1e3</a:t>
            </a:r>
            <a:r>
              <a:rPr lang="en-US" dirty="0"/>
              <a:t>.1o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E90EBF-DFF7-63C5-F900-2578AB07A8B1}"/>
              </a:ext>
            </a:extLst>
          </p:cNvPr>
          <p:cNvSpPr/>
          <p:nvPr/>
        </p:nvSpPr>
        <p:spPr>
          <a:xfrm>
            <a:off x="5543825" y="3991416"/>
            <a:ext cx="3786614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9)        t|</a:t>
            </a:r>
            <a:r>
              <a:rPr lang="en-US" dirty="0">
                <a:solidFill>
                  <a:srgbClr val="0432FF"/>
                </a:solidFill>
              </a:rPr>
              <a:t>2e1</a:t>
            </a:r>
            <a:r>
              <a:rPr lang="en-US" dirty="0"/>
              <a:t>.</a:t>
            </a:r>
            <a:r>
              <a:rPr lang="en-US" dirty="0">
                <a:solidFill>
                  <a:srgbClr val="FF0000"/>
                </a:solidFill>
              </a:rPr>
              <a:t>1o3</a:t>
            </a:r>
            <a:r>
              <a:rPr lang="en-US" dirty="0"/>
              <a:t>|2e1.</a:t>
            </a:r>
            <a:r>
              <a:rPr lang="en-US" dirty="0">
                <a:solidFill>
                  <a:srgbClr val="FF0000"/>
                </a:solidFill>
              </a:rPr>
              <a:t>2o3</a:t>
            </a:r>
            <a:r>
              <a:rPr lang="en-US" dirty="0"/>
              <a:t>|2e2.1o1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B65403A-1B57-6043-3DC8-5C34988F1C38}"/>
              </a:ext>
            </a:extLst>
          </p:cNvPr>
          <p:cNvCxnSpPr/>
          <p:nvPr/>
        </p:nvCxnSpPr>
        <p:spPr>
          <a:xfrm flipV="1">
            <a:off x="383396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EECD6BE-AB36-2AC8-4610-B704F510EF83}"/>
              </a:ext>
            </a:extLst>
          </p:cNvPr>
          <p:cNvCxnSpPr/>
          <p:nvPr/>
        </p:nvCxnSpPr>
        <p:spPr>
          <a:xfrm flipV="1">
            <a:off x="638298" y="2854342"/>
            <a:ext cx="509805" cy="5746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FC24272-72D7-8DE2-5740-1F307968B73E}"/>
              </a:ext>
            </a:extLst>
          </p:cNvPr>
          <p:cNvCxnSpPr/>
          <p:nvPr/>
        </p:nvCxnSpPr>
        <p:spPr>
          <a:xfrm flipV="1">
            <a:off x="471994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B7D8F3-0B2A-E40F-3E76-96E06A57B2BB}"/>
              </a:ext>
            </a:extLst>
          </p:cNvPr>
          <p:cNvCxnSpPr/>
          <p:nvPr/>
        </p:nvCxnSpPr>
        <p:spPr>
          <a:xfrm flipV="1">
            <a:off x="694282" y="4360748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82F649D-E984-AC92-3678-28EC3250A577}"/>
              </a:ext>
            </a:extLst>
          </p:cNvPr>
          <p:cNvCxnSpPr/>
          <p:nvPr/>
        </p:nvCxnSpPr>
        <p:spPr>
          <a:xfrm flipV="1">
            <a:off x="889161" y="4373571"/>
            <a:ext cx="509805" cy="574658"/>
          </a:xfrm>
          <a:prstGeom prst="straightConnector1">
            <a:avLst/>
          </a:prstGeom>
          <a:ln>
            <a:solidFill>
              <a:srgbClr val="1A3DFF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A7F0EBE-108D-CCF2-7FA3-8F6E62BF1017}"/>
              </a:ext>
            </a:extLst>
          </p:cNvPr>
          <p:cNvCxnSpPr/>
          <p:nvPr/>
        </p:nvCxnSpPr>
        <p:spPr>
          <a:xfrm flipV="1">
            <a:off x="2896765" y="4373571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830572-1653-0BF9-A416-1D6FF1BBDD14}"/>
              </a:ext>
            </a:extLst>
          </p:cNvPr>
          <p:cNvCxnSpPr/>
          <p:nvPr/>
        </p:nvCxnSpPr>
        <p:spPr>
          <a:xfrm flipV="1">
            <a:off x="3114949" y="4386394"/>
            <a:ext cx="509805" cy="574658"/>
          </a:xfrm>
          <a:prstGeom prst="straightConnector1">
            <a:avLst/>
          </a:prstGeom>
          <a:ln>
            <a:solidFill>
              <a:schemeClr val="accent3">
                <a:lumMod val="50000"/>
                <a:lumOff val="50000"/>
              </a:schemeClr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594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he central idea of MAJIQ: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ocal splicing vari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37F91-6A15-1263-CD9B-A4573C6DD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128046"/>
            <a:ext cx="4087894" cy="540142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C81A5917-934A-3696-F63C-5BBC4C296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00" y="1668188"/>
            <a:ext cx="4140200" cy="101354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E1D939-5E67-FF80-21C7-F0AC084A2A9D}"/>
              </a:ext>
            </a:extLst>
          </p:cNvPr>
          <p:cNvSpPr/>
          <p:nvPr/>
        </p:nvSpPr>
        <p:spPr>
          <a:xfrm>
            <a:off x="5372213" y="2460563"/>
            <a:ext cx="3897221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)       s|1e1.1o1|1e2.1o1|1e3.1o1|</a:t>
            </a:r>
            <a:r>
              <a:rPr lang="en-US" b="1" dirty="0">
                <a:solidFill>
                  <a:srgbClr val="FF0000"/>
                </a:solidFill>
              </a:rPr>
              <a:t>i 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D7CA23B-37A8-0F60-AB37-90A5D23707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3197304"/>
            <a:ext cx="3915044" cy="1214068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03925A2-AABA-77AB-36E4-184EDB0BAA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99" y="4990032"/>
            <a:ext cx="3769047" cy="889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74C179-9F31-113E-8009-99254570A32D}"/>
              </a:ext>
            </a:extLst>
          </p:cNvPr>
          <p:cNvSpPr/>
          <p:nvPr/>
        </p:nvSpPr>
        <p:spPr>
          <a:xfrm>
            <a:off x="5372213" y="3720246"/>
            <a:ext cx="4666662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13)     s|1e1.1o1|1e2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|1e3.1o1|1e4.</a:t>
            </a:r>
            <a:r>
              <a:rPr lang="en-US" dirty="0">
                <a:solidFill>
                  <a:srgbClr val="1A3DFF"/>
                </a:solidFill>
              </a:rPr>
              <a:t>2o2</a:t>
            </a:r>
            <a:r>
              <a:rPr lang="en-US" dirty="0"/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62FEC2-36E9-942A-5509-B4B2FD0584A7}"/>
              </a:ext>
            </a:extLst>
          </p:cNvPr>
          <p:cNvSpPr/>
          <p:nvPr/>
        </p:nvSpPr>
        <p:spPr>
          <a:xfrm>
            <a:off x="5372213" y="5165343"/>
            <a:ext cx="3837910" cy="369332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/>
              <a:t>(22)      s|1e1.1o1|1e2.2o2|</a:t>
            </a:r>
            <a:r>
              <a:rPr lang="en-US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2e</a:t>
            </a:r>
            <a:r>
              <a:rPr lang="en-US" dirty="0"/>
              <a:t>2.</a:t>
            </a:r>
            <a:r>
              <a:rPr lang="en-US" dirty="0">
                <a:solidFill>
                  <a:srgbClr val="0432FF"/>
                </a:solidFill>
              </a:rPr>
              <a:t>2o2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485454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8C0DE4-C995-C6B1-5A93-39D65B7B7C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111" y="1017054"/>
            <a:ext cx="6002516" cy="5469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83D6F7-4543-E824-7EAE-60251C3FF3F6}"/>
              </a:ext>
            </a:extLst>
          </p:cNvPr>
          <p:cNvSpPr txBox="1"/>
          <p:nvPr/>
        </p:nvSpPr>
        <p:spPr>
          <a:xfrm>
            <a:off x="556592" y="1962186"/>
            <a:ext cx="1417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SENP6</a:t>
            </a:r>
          </a:p>
        </p:txBody>
      </p:sp>
    </p:spTree>
    <p:extLst>
      <p:ext uri="{BB962C8B-B14F-4D97-AF65-F5344CB8AC3E}">
        <p14:creationId xmlns:p14="http://schemas.microsoft.com/office/powerpoint/2010/main" val="3087642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</p:spTree>
    <p:extLst>
      <p:ext uri="{BB962C8B-B14F-4D97-AF65-F5344CB8AC3E}">
        <p14:creationId xmlns:p14="http://schemas.microsoft.com/office/powerpoint/2010/main" val="41138050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</p:spTree>
    <p:extLst>
      <p:ext uri="{BB962C8B-B14F-4D97-AF65-F5344CB8AC3E}">
        <p14:creationId xmlns:p14="http://schemas.microsoft.com/office/powerpoint/2010/main" val="36966225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245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46A14CF7-89D4-DF02-9886-6D5F70E081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6356"/>
            <a:ext cx="6376737" cy="4797538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B14926F6-4668-DCA7-B676-EE057FC42F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95" y="663568"/>
            <a:ext cx="3626371" cy="11124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A82A1E-8C9B-4A59-110E-5047FBBDB51A}"/>
              </a:ext>
            </a:extLst>
          </p:cNvPr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What is RASL-seq and Why use RASL-seq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F69510-8DDB-C18B-6F1A-3D2AAF2DC619}"/>
              </a:ext>
            </a:extLst>
          </p:cNvPr>
          <p:cNvSpPr txBox="1"/>
          <p:nvPr/>
        </p:nvSpPr>
        <p:spPr>
          <a:xfrm>
            <a:off x="6285244" y="1189867"/>
            <a:ext cx="60993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R</a:t>
            </a:r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NA-mediated oligonucleotide </a:t>
            </a:r>
            <a:r>
              <a:rPr lang="en-US" b="1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A</a:t>
            </a:r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nnealing, </a:t>
            </a:r>
            <a:r>
              <a:rPr lang="en-US" b="1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S</a:t>
            </a:r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election, and </a:t>
            </a:r>
            <a:r>
              <a:rPr lang="en-US" b="1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L</a:t>
            </a:r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igation with Next-Gen </a:t>
            </a:r>
            <a:r>
              <a:rPr lang="en-US" b="1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seq</a:t>
            </a:r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uencing (RASL-seq)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666006-992A-0B14-8DE4-98B4AF364B76}"/>
              </a:ext>
            </a:extLst>
          </p:cNvPr>
          <p:cNvSpPr txBox="1"/>
          <p:nvPr/>
        </p:nvSpPr>
        <p:spPr>
          <a:xfrm>
            <a:off x="6306399" y="2069351"/>
            <a:ext cx="61948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Screen dozens to  hundreds genes under thousands </a:t>
            </a:r>
          </a:p>
          <a:p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or more conditions.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4A3709-55F9-FCB9-0885-975744441C36}"/>
              </a:ext>
            </a:extLst>
          </p:cNvPr>
          <p:cNvSpPr txBox="1"/>
          <p:nvPr/>
        </p:nvSpPr>
        <p:spPr>
          <a:xfrm>
            <a:off x="6306399" y="3059668"/>
            <a:ext cx="48774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accent3">
                    <a:lumMod val="50000"/>
                  </a:schemeClr>
                </a:solidFill>
                <a:effectLst/>
                <a:latin typeface="Cambria" panose="02040503050406030204" pitchFamily="18" charset="0"/>
              </a:rPr>
              <a:t>More like a microarray with high flexibility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1-RASL-seq primers design (1)?  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46A14CF7-89D4-DF02-9886-6D5F70E081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2851"/>
            <a:ext cx="6376737" cy="4797538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E83A355-3D61-FCE3-C1E2-FD38FEEB8E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253" y="1112851"/>
            <a:ext cx="5946115" cy="4510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017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2-What value can RASL-seq provide (1)?  </a:t>
            </a:r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12A0F0AF-B790-A099-A4B5-C048AF73C5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3884"/>
            <a:ext cx="6234069" cy="4377663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06F8163-AE89-9FBF-CB7F-A4708E8BE0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923" y="827332"/>
            <a:ext cx="6258813" cy="4141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18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4-What value can RASL-seq provide (2)?  </a:t>
            </a: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9BFA2D0-8FC8-8569-CB3B-20042B7F18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552" y="3501167"/>
            <a:ext cx="4215787" cy="3356833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D724CA5-7119-C6C6-2400-56EF60B298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902" y="685572"/>
            <a:ext cx="3797085" cy="3054586"/>
          </a:xfrm>
          <a:prstGeom prst="rect">
            <a:avLst/>
          </a:prstGeom>
        </p:spPr>
      </p:pic>
      <p:pic>
        <p:nvPicPr>
          <p:cNvPr id="2" name="Picture 1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22A9C185-6D1F-F441-D6F8-3C9134DE9C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26" y="1552443"/>
            <a:ext cx="6817318" cy="389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85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CA705B5D-566A-06B5-D144-9DB1F19D3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61" y="1036839"/>
            <a:ext cx="5353878" cy="19030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B9B5A9-A827-28BE-51EF-E802DF522FAF}"/>
              </a:ext>
            </a:extLst>
          </p:cNvPr>
          <p:cNvSpPr txBox="1"/>
          <p:nvPr/>
        </p:nvSpPr>
        <p:spPr>
          <a:xfrm>
            <a:off x="3428424" y="1238791"/>
            <a:ext cx="627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(2021)</a:t>
            </a:r>
          </a:p>
        </p:txBody>
      </p:sp>
      <p:pic>
        <p:nvPicPr>
          <p:cNvPr id="7" name="Picture 6" descr="Chart, pie chart&#10;&#10;Description automatically generated">
            <a:extLst>
              <a:ext uri="{FF2B5EF4-FFF2-40B4-BE49-F238E27FC236}">
                <a16:creationId xmlns:a16="http://schemas.microsoft.com/office/drawing/2014/main" id="{B0DC6A35-1163-5B83-807B-7FD07E4C31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61" y="3354457"/>
            <a:ext cx="5805324" cy="2667000"/>
          </a:xfrm>
          <a:prstGeom prst="rect">
            <a:avLst/>
          </a:prstGeom>
        </p:spPr>
      </p:pic>
      <p:pic>
        <p:nvPicPr>
          <p:cNvPr id="9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8033DAEE-6C38-1170-9081-2CC7D70045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124" y="783884"/>
            <a:ext cx="3748936" cy="567631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0B4E65C-CC31-5347-FB66-73FC7701CF09}"/>
              </a:ext>
            </a:extLst>
          </p:cNvPr>
          <p:cNvSpPr txBox="1">
            <a:spLocks/>
          </p:cNvSpPr>
          <p:nvPr/>
        </p:nvSpPr>
        <p:spPr>
          <a:xfrm>
            <a:off x="4233" y="-3801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5-What value can RASL-seq provide (3)?  </a:t>
            </a:r>
          </a:p>
        </p:txBody>
      </p:sp>
    </p:spTree>
    <p:extLst>
      <p:ext uri="{BB962C8B-B14F-4D97-AF65-F5344CB8AC3E}">
        <p14:creationId xmlns:p14="http://schemas.microsoft.com/office/powerpoint/2010/main" val="484827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table&#10;&#10;Description automatically generated">
            <a:extLst>
              <a:ext uri="{FF2B5EF4-FFF2-40B4-BE49-F238E27FC236}">
                <a16:creationId xmlns:a16="http://schemas.microsoft.com/office/drawing/2014/main" id="{AAE368F0-77CC-929D-0B7F-A797474BD0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" y="783884"/>
            <a:ext cx="12190482" cy="552021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BFE62CA-2CCE-6A02-F1F5-E77E376E9AC2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6-RASL-seq primers design (3)  </a:t>
            </a:r>
          </a:p>
        </p:txBody>
      </p:sp>
    </p:spTree>
    <p:extLst>
      <p:ext uri="{BB962C8B-B14F-4D97-AF65-F5344CB8AC3E}">
        <p14:creationId xmlns:p14="http://schemas.microsoft.com/office/powerpoint/2010/main" val="14009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107442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l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Genes with largest |</a:t>
            </a:r>
            <a:r>
              <a:rPr lang="en-US" dirty="0" err="1">
                <a:solidFill>
                  <a:srgbClr val="FFFFFF"/>
                </a:solidFill>
                <a:latin typeface="Arial Narrow" panose="020B0606020202030204" pitchFamily="34" charset="0"/>
              </a:rPr>
              <a:t>dPSI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|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9F45A82-97A7-527E-957D-B5F6A69A7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501080"/>
              </p:ext>
            </p:extLst>
          </p:nvPr>
        </p:nvGraphicFramePr>
        <p:xfrm>
          <a:off x="2986680" y="671844"/>
          <a:ext cx="4333931" cy="6125236"/>
        </p:xfrm>
        <a:graphic>
          <a:graphicData uri="http://schemas.openxmlformats.org/drawingml/2006/table">
            <a:tbl>
              <a:tblPr/>
              <a:tblGrid>
                <a:gridCol w="866786">
                  <a:extLst>
                    <a:ext uri="{9D8B030D-6E8A-4147-A177-3AD203B41FA5}">
                      <a16:colId xmlns:a16="http://schemas.microsoft.com/office/drawing/2014/main" val="1384743530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28025054"/>
                    </a:ext>
                  </a:extLst>
                </a:gridCol>
                <a:gridCol w="851216">
                  <a:extLst>
                    <a:ext uri="{9D8B030D-6E8A-4147-A177-3AD203B41FA5}">
                      <a16:colId xmlns:a16="http://schemas.microsoft.com/office/drawing/2014/main" val="2665520719"/>
                    </a:ext>
                  </a:extLst>
                </a:gridCol>
                <a:gridCol w="882357">
                  <a:extLst>
                    <a:ext uri="{9D8B030D-6E8A-4147-A177-3AD203B41FA5}">
                      <a16:colId xmlns:a16="http://schemas.microsoft.com/office/drawing/2014/main" val="1919858734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327143976"/>
                    </a:ext>
                  </a:extLst>
                </a:gridCol>
              </a:tblGrid>
              <a:tr h="123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w.names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666" marR="2666" marT="2666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96960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XDC2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0707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6747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57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808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7842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11-419C5.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4708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36708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414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76532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17368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MT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06199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314360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N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196735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P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17365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F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935433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AP2L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61452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63816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71368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36335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28906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GEF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95016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943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AP2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675309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CC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550040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2709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94434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006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4187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S29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6693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PS7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88684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M65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3630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X4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23971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2000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48250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78330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1694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4554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43985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9370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9480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029635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1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20852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P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4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1061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TA18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58181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CR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13077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818735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93796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09736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NND5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3443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LP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37975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9orf2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3690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1958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6966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4919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6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231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9603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V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489762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29901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82639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65093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EK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953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546178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6591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2943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06755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7494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E2V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03572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K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60351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S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34319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69969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8711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86251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C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73181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94293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4409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182949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59904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HLN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7554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GCT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4165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L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13390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41944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522513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AMTS1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484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VD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88279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75686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32968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7749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82260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74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58895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8293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75453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67288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3647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XO3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129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93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333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58460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2250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BP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76949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914938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38178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GF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39249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5680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884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6146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53261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1orf7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6342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7270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897592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0395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92137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19571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PD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99056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352178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03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081889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7262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14268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PN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50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F32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5469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MD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57938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9764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90827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16619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Z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7946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HD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56719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98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497915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6800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92915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413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970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30</TotalTime>
  <Words>505</Words>
  <Application>Microsoft Macintosh PowerPoint</Application>
  <PresentationFormat>Widescreen</PresentationFormat>
  <Paragraphs>324</Paragraphs>
  <Slides>1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Arial Narrow</vt:lpstr>
      <vt:lpstr>Calibri</vt:lpstr>
      <vt:lpstr>Cambria</vt:lpstr>
      <vt:lpstr>Courier New</vt:lpstr>
      <vt:lpstr>Wingdings</vt:lpstr>
      <vt:lpstr>4_Biogen Design 3 WIDE</vt:lpstr>
      <vt:lpstr>5_Biogen Design 3 W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entral idea of MAJIQ: local splicing variations</vt:lpstr>
      <vt:lpstr>The central idea of MAJIQ: local splicing variation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hithiya Manohar Charle</dc:creator>
  <cp:lastModifiedBy>Zhen Gao</cp:lastModifiedBy>
  <cp:revision>14</cp:revision>
  <dcterms:created xsi:type="dcterms:W3CDTF">2022-09-27T16:08:54Z</dcterms:created>
  <dcterms:modified xsi:type="dcterms:W3CDTF">2022-10-05T18:12:28Z</dcterms:modified>
</cp:coreProperties>
</file>